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1"/>
  </p:sldMasterIdLst>
  <p:notesMasterIdLst>
    <p:notesMasterId r:id="rId12"/>
  </p:notesMasterIdLst>
  <p:sldIdLst>
    <p:sldId id="259" r:id="rId2"/>
    <p:sldId id="264" r:id="rId3"/>
    <p:sldId id="256" r:id="rId4"/>
    <p:sldId id="265" r:id="rId5"/>
    <p:sldId id="266" r:id="rId6"/>
    <p:sldId id="267" r:id="rId7"/>
    <p:sldId id="268" r:id="rId8"/>
    <p:sldId id="269" r:id="rId9"/>
    <p:sldId id="270" r:id="rId10"/>
    <p:sldId id="262" r:id="rId11"/>
  </p:sldIdLst>
  <p:sldSz cx="12192000" cy="6858000"/>
  <p:notesSz cx="6858000" cy="9144000"/>
  <p:custDataLst>
    <p:tags r:id="rId1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rn, Vera" initials="BV" lastIdx="1" clrIdx="0">
    <p:extLst>
      <p:ext uri="{19B8F6BF-5375-455C-9EA6-DF929625EA0E}">
        <p15:presenceInfo xmlns:p15="http://schemas.microsoft.com/office/powerpoint/2012/main" userId="S::P10002306@LRA-LB.DE::6cba80da-45d4-41c6-b73b-6f8a9e562318" providerId="AD"/>
      </p:ext>
    </p:extLst>
  </p:cmAuthor>
  <p:cmAuthor id="2" name="Nees, Michelle" initials="NM" lastIdx="5" clrIdx="1">
    <p:extLst>
      <p:ext uri="{19B8F6BF-5375-455C-9EA6-DF929625EA0E}">
        <p15:presenceInfo xmlns:p15="http://schemas.microsoft.com/office/powerpoint/2012/main" userId="S::P10001698@LRA-LB.DE::7b24dbc9-a622-451d-8766-120d307f31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5C7E"/>
    <a:srgbClr val="FF00FF"/>
    <a:srgbClr val="F2F2F2"/>
    <a:srgbClr val="8CADE3"/>
    <a:srgbClr val="6E8AB2"/>
    <a:srgbClr val="FFB60F"/>
    <a:srgbClr val="F99634"/>
    <a:srgbClr val="C6593D"/>
    <a:srgbClr val="9C213E"/>
    <a:srgbClr val="AD40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6357" autoAdjust="0"/>
  </p:normalViewPr>
  <p:slideViewPr>
    <p:cSldViewPr snapToGrid="0" snapToObjects="1">
      <p:cViewPr varScale="1">
        <p:scale>
          <a:sx n="160" d="100"/>
          <a:sy n="160" d="100"/>
        </p:scale>
        <p:origin x="114" y="1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60407B-A741-4FAF-A869-C702FF01FD84}" type="datetimeFigureOut">
              <a:rPr lang="de-DE" smtClean="0"/>
              <a:t>11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9CABC5-C864-48C7-841D-855BA1C395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3629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2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3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oleObject" Target="../embeddings/oleObject6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4FB0E3F-FDB2-4593-8972-1605CAA826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67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3F08308A-CE9B-4E0F-8D1C-06BE58F41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30" t="16873" r="6292" b="2201"/>
          <a:stretch/>
        </p:blipFill>
        <p:spPr>
          <a:xfrm>
            <a:off x="0" y="1052513"/>
            <a:ext cx="12192000" cy="580548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B6B6250-26EF-4660-86D7-AABC29B23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245"/>
          <a:stretch/>
        </p:blipFill>
        <p:spPr>
          <a:xfrm>
            <a:off x="7522236" y="578575"/>
            <a:ext cx="6727709" cy="6701076"/>
          </a:xfrm>
          <a:prstGeom prst="rect">
            <a:avLst/>
          </a:prstGeom>
        </p:spPr>
      </p:pic>
      <p:sp>
        <p:nvSpPr>
          <p:cNvPr id="13" name="Round Diagonal Corner of Rectangle 11">
            <a:extLst>
              <a:ext uri="{FF2B5EF4-FFF2-40B4-BE49-F238E27FC236}">
                <a16:creationId xmlns:a16="http://schemas.microsoft.com/office/drawing/2014/main" id="{DA17DDB6-C3F5-4D11-A273-96755AA388E3}"/>
              </a:ext>
            </a:extLst>
          </p:cNvPr>
          <p:cNvSpPr/>
          <p:nvPr userDrawn="1"/>
        </p:nvSpPr>
        <p:spPr>
          <a:xfrm flipH="1">
            <a:off x="479424" y="3995425"/>
            <a:ext cx="7284348" cy="2386325"/>
          </a:xfrm>
          <a:prstGeom prst="round2DiagRect">
            <a:avLst>
              <a:gd name="adj1" fmla="val 25652"/>
              <a:gd name="adj2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DE" sz="32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1F2475-82F3-47F9-9356-6701187DCF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8825" y="5663426"/>
            <a:ext cx="6763411" cy="46591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, Datum, </a:t>
            </a:r>
            <a:r>
              <a:rPr lang="en-US" dirty="0" err="1"/>
              <a:t>Verfasser</a:t>
            </a:r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5A69BD-117E-49F7-9594-1CB3AD08E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5" y="4277337"/>
            <a:ext cx="6763411" cy="1354217"/>
          </a:xfr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 err="1"/>
              <a:t>44pt</a:t>
            </a:r>
            <a:r>
              <a:rPr lang="en-US" dirty="0"/>
              <a:t> </a:t>
            </a:r>
            <a:r>
              <a:rPr lang="en-US" dirty="0" err="1"/>
              <a:t>Zweizeilig</a:t>
            </a:r>
            <a:endParaRPr lang="de-D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BB9152-CA6A-4190-AB3B-6E387C3823D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476" y="127050"/>
            <a:ext cx="2046468" cy="83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1891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4FB0E3F-FDB2-4593-8972-1605CAA826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71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4FB0E3F-FDB2-4593-8972-1605CAA82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64BE2DD2-44C8-4747-9A25-087D436ABA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30" t="16873" r="6292" b="21523"/>
          <a:stretch/>
        </p:blipFill>
        <p:spPr>
          <a:xfrm>
            <a:off x="0" y="1052513"/>
            <a:ext cx="12192000" cy="441937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7C47BEB-260F-42A1-8EEF-BF73FA588A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245"/>
          <a:stretch/>
        </p:blipFill>
        <p:spPr>
          <a:xfrm>
            <a:off x="7449663" y="307561"/>
            <a:ext cx="5932761" cy="5909275"/>
          </a:xfrm>
          <a:prstGeom prst="rect">
            <a:avLst/>
          </a:prstGeom>
        </p:spPr>
      </p:pic>
      <p:sp>
        <p:nvSpPr>
          <p:cNvPr id="13" name="Round Diagonal Corner of Rectangle 11">
            <a:extLst>
              <a:ext uri="{FF2B5EF4-FFF2-40B4-BE49-F238E27FC236}">
                <a16:creationId xmlns:a16="http://schemas.microsoft.com/office/drawing/2014/main" id="{DA17DDB6-C3F5-4D11-A273-96755AA388E3}"/>
              </a:ext>
            </a:extLst>
          </p:cNvPr>
          <p:cNvSpPr/>
          <p:nvPr userDrawn="1"/>
        </p:nvSpPr>
        <p:spPr>
          <a:xfrm flipH="1">
            <a:off x="479424" y="3995425"/>
            <a:ext cx="7284348" cy="2386325"/>
          </a:xfrm>
          <a:prstGeom prst="round2DiagRect">
            <a:avLst>
              <a:gd name="adj1" fmla="val 25652"/>
              <a:gd name="adj2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DE" sz="3200" dirty="0">
              <a:solidFill>
                <a:schemeClr val="bg1"/>
              </a:solidFill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5A69BD-117E-49F7-9594-1CB3AD08E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5" y="4511479"/>
            <a:ext cx="6763411" cy="1354217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 err="1"/>
              <a:t>44pt</a:t>
            </a:r>
            <a:r>
              <a:rPr lang="en-US" dirty="0"/>
              <a:t> </a:t>
            </a:r>
            <a:r>
              <a:rPr lang="en-US" dirty="0" err="1"/>
              <a:t>Zweizeilig</a:t>
            </a:r>
            <a:endParaRPr lang="de-DE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BBB9152-CA6A-4190-AB3B-6E387C3823D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476" y="127050"/>
            <a:ext cx="2046468" cy="830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5389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4FB0E3F-FDB2-4593-8972-1605CAA826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40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4FB0E3F-FDB2-4593-8972-1605CAA82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04DFDB5A-0E9C-4D45-A46C-BD96645D8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30" t="1841" r="35281" b="2202"/>
          <a:stretch/>
        </p:blipFill>
        <p:spPr>
          <a:xfrm>
            <a:off x="0" y="-25937"/>
            <a:ext cx="6096000" cy="688393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DB88836-3655-47F0-8521-609B3A724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2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245"/>
          <a:stretch/>
        </p:blipFill>
        <p:spPr>
          <a:xfrm>
            <a:off x="820341" y="511129"/>
            <a:ext cx="6727709" cy="6701076"/>
          </a:xfrm>
          <a:prstGeom prst="rect">
            <a:avLst/>
          </a:prstGeom>
        </p:spPr>
      </p:pic>
      <p:sp>
        <p:nvSpPr>
          <p:cNvPr id="16" name="Round Diagonal Corner of Rectangle 11">
            <a:extLst>
              <a:ext uri="{FF2B5EF4-FFF2-40B4-BE49-F238E27FC236}">
                <a16:creationId xmlns:a16="http://schemas.microsoft.com/office/drawing/2014/main" id="{ED90976A-35A0-431B-B23F-2EFE6E6251B8}"/>
              </a:ext>
            </a:extLst>
          </p:cNvPr>
          <p:cNvSpPr/>
          <p:nvPr userDrawn="1"/>
        </p:nvSpPr>
        <p:spPr>
          <a:xfrm flipH="1">
            <a:off x="3827009" y="1052513"/>
            <a:ext cx="7887173" cy="1044000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400" b="1" dirty="0">
                <a:solidFill>
                  <a:schemeClr val="bg1"/>
                </a:solidFill>
              </a:rPr>
              <a:t>Agenda</a:t>
            </a:r>
            <a:endParaRPr lang="en-DE" sz="3200" dirty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EA356B-9585-4458-A431-90BE43FF2B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663" y="2410447"/>
            <a:ext cx="5268912" cy="3718891"/>
          </a:xfrm>
        </p:spPr>
        <p:txBody>
          <a:bodyPr/>
          <a:lstStyle>
            <a:lvl1pPr marL="342900" indent="-342900">
              <a:spcAft>
                <a:spcPts val="1200"/>
              </a:spcAft>
              <a:buFont typeface="+mj-lt"/>
              <a:buAutoNum type="arabicPeriod"/>
              <a:defRPr sz="1600"/>
            </a:lvl1pPr>
            <a:lvl2pPr marL="177800" indent="0">
              <a:buNone/>
              <a:defRPr/>
            </a:lvl2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2843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CC55C3-CC6F-4585-ABFB-ECE546FD3C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396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7CC55C3-CC6F-4585-ABFB-ECE546FD3C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22503F5-08DF-4F1A-8110-8C0F6B40FE12}"/>
              </a:ext>
            </a:extLst>
          </p:cNvPr>
          <p:cNvSpPr/>
          <p:nvPr userDrawn="1"/>
        </p:nvSpPr>
        <p:spPr>
          <a:xfrm>
            <a:off x="0" y="1052514"/>
            <a:ext cx="12192000" cy="53292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89C22F-39C8-4271-A3B0-0CA9EE628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46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0646"/>
          <a:stretch/>
        </p:blipFill>
        <p:spPr>
          <a:xfrm>
            <a:off x="3838615" y="1484313"/>
            <a:ext cx="4514771" cy="4657008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415B15-10F0-469C-A70C-43BF8F9530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7CA2EB9-36B4-4C3A-A398-575E99C42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 err="1"/>
              <a:t>Tit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 err="1"/>
              <a:t>24pt</a:t>
            </a:r>
            <a:r>
              <a:rPr lang="en-US" dirty="0"/>
              <a:t>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A7E4C935-E85C-40D7-A7EA-BCA3E1EB09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6141322"/>
            <a:ext cx="11233150" cy="240428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00"/>
            </a:lvl1pPr>
            <a:lvl2pPr marL="177800" indent="0"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r>
              <a:rPr lang="en-GB" dirty="0"/>
              <a:t>Quelle: </a:t>
            </a:r>
          </a:p>
        </p:txBody>
      </p:sp>
    </p:spTree>
    <p:extLst>
      <p:ext uri="{BB962C8B-B14F-4D97-AF65-F5344CB8AC3E}">
        <p14:creationId xmlns:p14="http://schemas.microsoft.com/office/powerpoint/2010/main" val="681715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7CC55C3-CC6F-4585-ABFB-ECE546FD3C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332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22503F5-08DF-4F1A-8110-8C0F6B40FE12}"/>
              </a:ext>
            </a:extLst>
          </p:cNvPr>
          <p:cNvSpPr/>
          <p:nvPr userDrawn="1"/>
        </p:nvSpPr>
        <p:spPr>
          <a:xfrm>
            <a:off x="0" y="1052514"/>
            <a:ext cx="12192000" cy="53292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89C22F-39C8-4271-A3B0-0CA9EE628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46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0646"/>
          <a:stretch/>
        </p:blipFill>
        <p:spPr>
          <a:xfrm>
            <a:off x="3838615" y="1484313"/>
            <a:ext cx="4514771" cy="4657008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415B15-10F0-469C-A70C-43BF8F9530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B7CA2EB9-36B4-4C3A-A398-575E99C42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 err="1"/>
              <a:t>Tit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 err="1"/>
              <a:t>24pt</a:t>
            </a:r>
            <a:r>
              <a:rPr lang="en-US" dirty="0"/>
              <a:t>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CFBAA92-8805-4174-AD51-26F8B72AAC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484313"/>
            <a:ext cx="11233150" cy="4645025"/>
          </a:xfrm>
        </p:spPr>
        <p:txBody>
          <a:bodyPr/>
          <a:lstStyle/>
          <a:p>
            <a:r>
              <a:rPr lang="en-GB" dirty="0" err="1"/>
              <a:t>Erste</a:t>
            </a:r>
            <a:r>
              <a:rPr lang="en-GB" dirty="0"/>
              <a:t> Ebene </a:t>
            </a:r>
          </a:p>
          <a:p>
            <a:pPr lvl="1"/>
            <a:r>
              <a:rPr lang="en-GB" dirty="0" err="1"/>
              <a:t>Zweite</a:t>
            </a:r>
            <a:r>
              <a:rPr lang="en-GB" dirty="0"/>
              <a:t> Ebene </a:t>
            </a:r>
          </a:p>
          <a:p>
            <a:pPr lvl="2"/>
            <a:r>
              <a:rPr lang="en-GB" dirty="0" err="1"/>
              <a:t>Dritte</a:t>
            </a:r>
            <a:r>
              <a:rPr lang="en-GB" dirty="0"/>
              <a:t> Ebene </a:t>
            </a:r>
          </a:p>
          <a:p>
            <a:pPr lvl="3"/>
            <a:r>
              <a:rPr lang="en-GB" dirty="0" err="1"/>
              <a:t>Vierte</a:t>
            </a:r>
            <a:r>
              <a:rPr lang="en-GB" dirty="0"/>
              <a:t> Ebene </a:t>
            </a:r>
          </a:p>
          <a:p>
            <a:pPr lvl="4"/>
            <a:r>
              <a:rPr lang="en-GB" dirty="0" err="1"/>
              <a:t>Fünfte</a:t>
            </a:r>
            <a:r>
              <a:rPr lang="en-GB" dirty="0"/>
              <a:t> Ebene</a:t>
            </a:r>
            <a:endParaRPr lang="en-DE" dirty="0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A7E4C935-E85C-40D7-A7EA-BCA3E1EB09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6141322"/>
            <a:ext cx="11233150" cy="240428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000"/>
            </a:lvl1pPr>
            <a:lvl2pPr marL="177800" indent="0"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r>
              <a:rPr lang="en-GB" dirty="0"/>
              <a:t>Quelle: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258B872-A9BD-47B8-A5D3-65B09653C62D}"/>
              </a:ext>
            </a:extLst>
          </p:cNvPr>
          <p:cNvGrpSpPr/>
          <p:nvPr userDrawn="1"/>
        </p:nvGrpSpPr>
        <p:grpSpPr>
          <a:xfrm>
            <a:off x="12579479" y="2976144"/>
            <a:ext cx="1883281" cy="1661363"/>
            <a:chOff x="6940679" y="3429000"/>
            <a:chExt cx="1883281" cy="1661363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AED7757-DD67-4DB4-BF48-3A71561DFB05}"/>
                </a:ext>
              </a:extLst>
            </p:cNvPr>
            <p:cNvGrpSpPr/>
            <p:nvPr/>
          </p:nvGrpSpPr>
          <p:grpSpPr>
            <a:xfrm>
              <a:off x="6940679" y="3429000"/>
              <a:ext cx="1883281" cy="1661363"/>
              <a:chOff x="12339732" y="1508408"/>
              <a:chExt cx="1883281" cy="1661363"/>
            </a:xfrm>
          </p:grpSpPr>
          <p:sp>
            <p:nvSpPr>
              <p:cNvPr id="20" name="Rectangle 18">
                <a:extLst>
                  <a:ext uri="{FF2B5EF4-FFF2-40B4-BE49-F238E27FC236}">
                    <a16:creationId xmlns:a16="http://schemas.microsoft.com/office/drawing/2014/main" id="{88B9444A-2BF5-4FF9-929C-7FB13B1BCA0B}"/>
                  </a:ext>
                </a:extLst>
              </p:cNvPr>
              <p:cNvSpPr/>
              <p:nvPr userDrawn="1"/>
            </p:nvSpPr>
            <p:spPr>
              <a:xfrm>
                <a:off x="12339732" y="1508408"/>
                <a:ext cx="1883281" cy="166136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08000" rIns="144000" bIns="108000" rtlCol="0" anchor="ctr"/>
              <a:lstStyle/>
              <a:p>
                <a:pPr algn="l"/>
                <a:r>
                  <a:rPr lang="de-DE" sz="12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Wechseln </a:t>
                </a:r>
                <a:br>
                  <a:rPr lang="de-DE" sz="12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</a:br>
                <a:r>
                  <a:rPr lang="de-DE" sz="12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zwischen Textebenen</a:t>
                </a:r>
              </a:p>
              <a:p>
                <a:pPr algn="l"/>
                <a:endParaRPr lang="de-DE" sz="1200" b="1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/>
                <a:endParaRPr lang="de-DE" sz="1200" b="1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/>
                <a:br>
                  <a:rPr lang="de-DE" sz="1200" b="1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</a:br>
                <a:endParaRPr lang="de-DE" sz="1200" b="1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  <a:p>
                <a:pPr algn="l"/>
                <a:r>
                  <a:rPr lang="de-DE" sz="1200" b="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Zu finden im Tab Start / </a:t>
                </a:r>
                <a:br>
                  <a:rPr lang="de-DE" sz="1200" b="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</a:br>
                <a:r>
                  <a:rPr lang="de-DE" sz="1200" b="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Bereich Absatz. </a:t>
                </a:r>
              </a:p>
            </p:txBody>
          </p:sp>
          <p:pic>
            <p:nvPicPr>
              <p:cNvPr id="21" name="Picture 19">
                <a:extLst>
                  <a:ext uri="{FF2B5EF4-FFF2-40B4-BE49-F238E27FC236}">
                    <a16:creationId xmlns:a16="http://schemas.microsoft.com/office/drawing/2014/main" id="{A35CFA9E-816F-4B2B-8E9C-726ED3A95B4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493"/>
              <a:stretch/>
            </p:blipFill>
            <p:spPr>
              <a:xfrm>
                <a:off x="12390529" y="2137584"/>
                <a:ext cx="764156" cy="413845"/>
              </a:xfrm>
              <a:prstGeom prst="rect">
                <a:avLst/>
              </a:prstGeom>
            </p:spPr>
          </p:pic>
        </p:grpSp>
        <p:pic>
          <p:nvPicPr>
            <p:cNvPr id="19" name="Grafik 20">
              <a:extLst>
                <a:ext uri="{FF2B5EF4-FFF2-40B4-BE49-F238E27FC236}">
                  <a16:creationId xmlns:a16="http://schemas.microsoft.com/office/drawing/2014/main" id="{71128349-E724-4325-925B-735A4FB61C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751" t="4751"/>
            <a:stretch/>
          </p:blipFill>
          <p:spPr>
            <a:xfrm>
              <a:off x="7117476" y="4107260"/>
              <a:ext cx="504895" cy="304843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877461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C0F872-2412-4F91-B7BB-17D40DA8A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168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565D9C9-A827-4899-A835-0A3174577442}"/>
              </a:ext>
            </a:extLst>
          </p:cNvPr>
          <p:cNvSpPr/>
          <p:nvPr userDrawn="1"/>
        </p:nvSpPr>
        <p:spPr>
          <a:xfrm>
            <a:off x="0" y="1052513"/>
            <a:ext cx="12192000" cy="580548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400" dirty="0" err="1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D88328-9155-4E08-AB2C-012D541A72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3443515"/>
            <a:ext cx="3236232" cy="1883228"/>
          </a:xfrm>
        </p:spPr>
        <p:txBody>
          <a:bodyPr/>
          <a:lstStyle>
            <a:lvl1pPr marL="0" indent="0">
              <a:spcAft>
                <a:spcPts val="0"/>
              </a:spcAft>
              <a:buFont typeface="+mj-lt"/>
              <a:buNone/>
              <a:defRPr sz="2000">
                <a:solidFill>
                  <a:schemeClr val="bg1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US" dirty="0"/>
              <a:t>Inf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32D403-5B3E-4FE0-88CB-93349A7FCC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42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6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245"/>
          <a:stretch/>
        </p:blipFill>
        <p:spPr>
          <a:xfrm>
            <a:off x="6096000" y="578575"/>
            <a:ext cx="6727709" cy="670107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414186E-482C-4090-8EB0-890868EDC47E}"/>
              </a:ext>
            </a:extLst>
          </p:cNvPr>
          <p:cNvSpPr txBox="1"/>
          <p:nvPr userDrawn="1"/>
        </p:nvSpPr>
        <p:spPr>
          <a:xfrm>
            <a:off x="479425" y="2785705"/>
            <a:ext cx="3342602" cy="49244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3200" b="1" dirty="0" err="1">
                <a:solidFill>
                  <a:schemeClr val="bg1"/>
                </a:solidFill>
                <a:effectLst/>
                <a:latin typeface="+mn-lt"/>
              </a:rPr>
              <a:t>Kontakt</a:t>
            </a:r>
            <a:endParaRPr lang="en-US" sz="3200" b="1" dirty="0"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01362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8578E8B-3CDD-48C0-B013-A35DB2EDD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5380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56D96F-A39E-432F-ACC5-A38F5C450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 err="1"/>
              <a:t>Titel</a:t>
            </a:r>
            <a:r>
              <a:rPr lang="en-US" dirty="0"/>
              <a:t> / </a:t>
            </a:r>
            <a:br>
              <a:rPr lang="en-US" dirty="0"/>
            </a:br>
            <a:r>
              <a:rPr lang="en-US" dirty="0" err="1"/>
              <a:t>24pt</a:t>
            </a:r>
            <a:r>
              <a:rPr lang="en-US" dirty="0"/>
              <a:t>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A0FE0F-3BF5-4E54-A692-550D1FE55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82375" y="6381750"/>
            <a:ext cx="330201" cy="47625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r">
              <a:defRPr sz="1800" b="1">
                <a:solidFill>
                  <a:schemeClr val="tx1"/>
                </a:solidFill>
                <a:latin typeface="+mn-lt"/>
              </a:defRPr>
            </a:lvl1pPr>
          </a:lstStyle>
          <a:p>
            <a:fld id="{4199BEC2-6465-410E-833D-09DA1B8D315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260CC8-E905-46F8-B4EF-E3B6B6A3B6E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2476" y="127050"/>
            <a:ext cx="2046468" cy="83074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F8ADDD-5299-4215-89BD-092D749F1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484312"/>
            <a:ext cx="11233150" cy="48974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dirty="0" err="1"/>
              <a:t>Erste</a:t>
            </a:r>
            <a:r>
              <a:rPr lang="en-GB" dirty="0"/>
              <a:t> Ebene </a:t>
            </a:r>
          </a:p>
          <a:p>
            <a:pPr lvl="1"/>
            <a:r>
              <a:rPr lang="en-GB" dirty="0" err="1"/>
              <a:t>Zweite</a:t>
            </a:r>
            <a:r>
              <a:rPr lang="en-GB" dirty="0"/>
              <a:t> Ebene </a:t>
            </a:r>
          </a:p>
          <a:p>
            <a:pPr lvl="2"/>
            <a:r>
              <a:rPr lang="en-GB" dirty="0" err="1"/>
              <a:t>Dritte</a:t>
            </a:r>
            <a:r>
              <a:rPr lang="en-GB" dirty="0"/>
              <a:t> Ebene </a:t>
            </a:r>
          </a:p>
          <a:p>
            <a:pPr lvl="3"/>
            <a:r>
              <a:rPr lang="en-GB" dirty="0" err="1"/>
              <a:t>Vierte</a:t>
            </a:r>
            <a:r>
              <a:rPr lang="en-GB" dirty="0"/>
              <a:t> Ebene </a:t>
            </a:r>
          </a:p>
          <a:p>
            <a:pPr lvl="4"/>
            <a:r>
              <a:rPr lang="en-GB" dirty="0" err="1"/>
              <a:t>Fünfte</a:t>
            </a:r>
            <a:r>
              <a:rPr lang="en-GB" dirty="0"/>
              <a:t> Ebene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18177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6" r:id="rId2"/>
    <p:sldLayoutId id="2147483677" r:id="rId3"/>
    <p:sldLayoutId id="2147483675" r:id="rId4"/>
    <p:sldLayoutId id="2147483674" r:id="rId5"/>
    <p:sldLayoutId id="2147483678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4625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alibri Light" panose="020F030202020403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alibri Light" panose="020F030202020403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orient="horz" pos="4020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861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6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240631-14D4-4C63-9013-D7FEE23378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9747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8">
            <a:extLst>
              <a:ext uri="{FF2B5EF4-FFF2-40B4-BE49-F238E27FC236}">
                <a16:creationId xmlns:a16="http://schemas.microsoft.com/office/drawing/2014/main" id="{69F80D9F-E696-4B55-B73A-43C2624EC1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8825" y="5663426"/>
            <a:ext cx="6763411" cy="4659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980B43A-0E6D-4F5F-A4E9-1D101553F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825" y="4277337"/>
            <a:ext cx="6763411" cy="1354217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800" b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nicht abschließend)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8332448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1D842B0-BCE5-4735-BEB1-AFFC82D53A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426" y="3443515"/>
            <a:ext cx="3236232" cy="1883228"/>
          </a:xfrm>
        </p:spPr>
        <p:txBody>
          <a:bodyPr/>
          <a:lstStyle/>
          <a:p>
            <a:r>
              <a:rPr lang="de-DE"/>
              <a:t>Landratsamt Ludwigsburg</a:t>
            </a:r>
            <a:br>
              <a:rPr lang="de-DE"/>
            </a:br>
            <a:r>
              <a:rPr lang="de-DE"/>
              <a:t>Hindenburgstraße 40</a:t>
            </a:r>
            <a:br>
              <a:rPr lang="de-DE"/>
            </a:br>
            <a:r>
              <a:rPr lang="de-DE"/>
              <a:t>71638 Ludwigsburg</a:t>
            </a:r>
          </a:p>
          <a:p>
            <a:endParaRPr lang="de-DE"/>
          </a:p>
          <a:p>
            <a:r>
              <a:rPr lang="de-DE"/>
              <a:t>Tel.: 07141 144-0</a:t>
            </a:r>
            <a:br>
              <a:rPr lang="de-DE"/>
            </a:br>
            <a:r>
              <a:rPr lang="de-DE"/>
              <a:t>Fax: 07141 144-39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186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D8C92E81-3072-41F7-A366-75CD379876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24906" y="2410447"/>
            <a:ext cx="5425728" cy="3718891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ziale Betreuung in der restlichen Anschlussunterbringung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Betreuungsquote 1:150) AU Rest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ionsmanagement</a:t>
            </a: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Betreuungsquote 1:80) IGM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ögliche Arbeitsbereiche Ehrenamtlicher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munaler Integrationsbeauftragter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 andere kommunale Abteilungen verteilte Zuständigkeiten (in Kommunen unterschiedlich gehandhabt)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1597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Soziale Betreuung in der restlichen Anschlussunterbringung (Betreuungsquote 1:150) AU Rest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484313"/>
            <a:ext cx="11233150" cy="4645025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reuung über „Komm-Struktur“ – die Geflüchteten suchen den Sozialdienst selbständig auf </a:t>
            </a:r>
            <a:b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Terminvereinbarung in den Sprechstunden in der Kommune) bzw. kontaktieren ihn selbst telefonisch oder per Mail, wenn sie Hilfe brauchen (keine Einzelfallhilfe) – häufig eher kurzfristige, themenspezifische Interaktionen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gfs. individuelle terminierte Beratungen bei zeitaufwändigen und komplexen Fragestellungen (keine Hausbesuche)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atung und Information (Wegweiser) zu Themen wie z.B. Asylverfahren, Sozialleistungen, Sprachkurse, Umzug, Arbeit, Anerkennung von Bildungsabschlüssen, Schule, freiwillige Rückkehr, Krankheit, rechtliche Grundlagen, Rundfunkgebührenbefreiung, Kinder- und Elterngeld, Schulden etc.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lfe und Beratung für besonders schutzbedürftige Personen und bei psychischen Problemen (Entwicklung von Hilfsangeboten und Vermittlung an geeignete weitergehende Hilfen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b="1" dirty="0">
                <a:solidFill>
                  <a:srgbClr val="53813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gweiser bei Problemen des alltäglichen Lebens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läutern und ggf. Anleitung zum Ausfüllen von Anträgen (z.B. Leistungsanträge, Anträge auf Krankenversicherung, Bildung und Teilhabe, einmalige Beihilfen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stützung bei Abgabe/Verfassen geforderter Rückmeldungen (z.B. Gerichte)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834AF0-BD6C-4F7F-A1EE-F7DB4B813A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6141322"/>
            <a:ext cx="11233150" cy="24042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800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Integrationsmanagement (Betreuungsquote 1:80) IGM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484313"/>
            <a:ext cx="11233150" cy="4645025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reuung im Rahmen von individuellen, zeitlich geplanten Einzelgesprächen und/oder innerhalb von festgelegten Sprechstunden – Einzelfallhilfe – aufsuchende Arbeit – freiwillige Teilnahme am IGM, Befristung auf drei Jahre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stellung eines Integrationsförderplans (IFP) – gemeinsames Erarbeiten von individuellen, zukunftsgerichteten Zielen – regelmäßige Auswertung und Fortschreibung - dabei spielen die persönlichen Vorstellungen der Geflüchteten über ihre Zukunft eine tragende Rolle. (Hilfeplanung ist auf kontinuierliche Weiterentwicklung ausgerichtet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lfe und Beratung für besonders schutzbedürftige Personen und bei psychischen Problemen (Entwicklung von Hilfsangeboten und Vermittlung an geeignete weitergehende Hilfen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fähigung der Geflüchteten zur Partizipation am sozialen, gesellschaftlichen und kulturellen Leb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mittlung von Bildungsangeboten wie Sprachkurse, Ausbildung oder Schul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erende Unterstützung bei der Arbeitssuche</a:t>
            </a:r>
          </a:p>
          <a:p>
            <a:pPr marL="342900" lvl="0" indent="-342900" algn="just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bindung von anderen Beratungsstellen: Weiterleitung, Vermittlung und Kooperatio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800" b="1" dirty="0">
                <a:solidFill>
                  <a:srgbClr val="53813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llumfängliche Beratung und Hilfestellungen bei Problemen des alltäglichen Lebens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1800" b="1" dirty="0">
              <a:solidFill>
                <a:srgbClr val="538135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1800" b="1" dirty="0">
              <a:solidFill>
                <a:srgbClr val="538135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iel des Integrationsmanagements ist es, die Geflüchteten zu einem selbstbestimmten Leben zu befähigen, ohne auf fremde Hilfe angewiesen zu sein!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eiden Geflüchtete aus dem IGM aus, nimmt der Integrationsmanager/die Integrationsmanagerin neue Geflüchtete aus der restlichen Anschlussunterbringung auf (fließendes Nachrücken). Die Entscheidung über die Auswahl der nachrückenden Personen treffen die Integrationsmanager und Integrationsmanagerinnen anhand des Hilfebedarfs des/der Einzelnen. Langfristig ist die Aufnahme aller Geflüchteten in die Hilfeplanung vorgesehen.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834AF0-BD6C-4F7F-A1EE-F7DB4B813A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6141322"/>
            <a:ext cx="11233150" cy="24042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1574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Integrationsmanagement (Betreuungsquote 1:80) IGM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1484313"/>
            <a:ext cx="10009281" cy="4645025"/>
          </a:xfrm>
        </p:spPr>
        <p:txBody>
          <a:bodyPr/>
          <a:lstStyle/>
          <a:p>
            <a:pPr marL="457200">
              <a:lnSpc>
                <a:spcPct val="107000"/>
              </a:lnSpc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iel des Integrationsmanagements ist es, die Geflüchteten zu einem selbstbestimmten Leben zu befähigen, ohne auf fremde Hilfe angewiesen zu sein!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eiden Geflüchtete aus dem IGM aus, nimmt der Integrationsmanager/die Integrationsmanagerin neue Geflüchtete aus der restlichen Anschlussunterbringung auf (fließendes Nachrücken). </a:t>
            </a:r>
            <a:b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Entscheidung über die Auswahl der nachrückenden Personen treffen die Integrationsmanager und Integrationsmanagerinnen anhand des Hilfebedarfs des/der Einzelnen. Langfristig ist die Aufnahme aller Geflüchteten in die Hilfeplanung vorgesehen.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834AF0-BD6C-4F7F-A1EE-F7DB4B813AE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6141322"/>
            <a:ext cx="11233150" cy="24042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5834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Mögliche Arbeitsbereiche Ehrenamtlich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1406625"/>
            <a:ext cx="11431681" cy="4645025"/>
          </a:xfrm>
        </p:spPr>
        <p:txBody>
          <a:bodyPr/>
          <a:lstStyle/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netzung und Nutzung der Möglichkeiten vor Ort (z.B. Bücherei, sportliche Aktivitäten); Integration ins Gemeinwes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izeitaktivität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gebot einer positiven „privaten“ Beziehung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mittlung/Vorleben von gesellschaftlichen Zusammenhängen durch den persönlichen Kontakt (z.B. durch Beantworten von alltäglichen Fragen oder Erklären von Zusammenhängen im Dialog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führung von Sprachkursen, Hilfe beim Erlernen der Sprache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gleitung zu Ärzten, Behörden und Elternabenden bzw. Elterngespräch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bereitung und Durchführung von Themenabenden oder Festen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lfe bei Wohnungssuche, Anschreiben und Erklärung von relevanten Abläufen (Strom muss selbst gezahlt werden, Mülltrennung, Kehrwoche…)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lfe bei Arbeitssuche, Hilfe beim Erstellen von Lebensläufen, Anschreiben; Hilfe bei der Vorbereitung auf Vorstellungsgespräche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bindung an Vereine und kulturelle Angebote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chhilfe bzw. Anleitung der Eltern bei der Hausaufgabenhilfe</a:t>
            </a:r>
          </a:p>
          <a:p>
            <a:pPr marL="342900" lvl="0" indent="-342900">
              <a:lnSpc>
                <a:spcPct val="107000"/>
              </a:lnSpc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lfe beim Ablegen von Dokumenten (Aufbau einer Struktur - Ordner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Calibri" panose="020F0502020204030204" pitchFamily="34" charset="0"/>
              <a:buChar char="-"/>
            </a:pPr>
            <a:r>
              <a:rPr lang="de-DE" sz="1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porte von Hilfsgütern, wie Möbeln etc.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7672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Kommunaler Integrationsbeauftragt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1478337"/>
            <a:ext cx="11431681" cy="4645025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chtet den Arbeitsfokus auf die </a:t>
            </a:r>
            <a:r>
              <a:rPr lang="de-DE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affung von integrationsfreundlichen Strukturen</a:t>
            </a: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 der Kommune für alle dort lebenden Migranten. 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ält regelmäßige Kontakte zu allen Akteuren in der örtlichen Integrationsarbeit und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hafft integrationsfreundliche Strukturen, Projekte und Veranstaltungen in der Kommune.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ordiniert, bündelt und steuert örtliche Integrationsarbeit mit und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cht das Integrationsangebot transparent und für alle Migranten vor Ort leicht zugänglich.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rät hilfesuchende Migranten und versteht sich als Wegweiser.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ciert Maßnahmen zur Interkulturellen Öffnung der Kommunalverwaltung (z.B. Erhöhung des Anteils von Auszubildenden und Beschäftigten mit Migrationshintergrund sowie zur Stärkung der interkulturellen Kompetenzen).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44181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Kommunaler Integrationsbeauftragter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1478337"/>
            <a:ext cx="11431681" cy="4645025"/>
          </a:xfrm>
        </p:spPr>
        <p:txBody>
          <a:bodyPr/>
          <a:lstStyle/>
          <a:p>
            <a:pPr marL="53975" indent="0">
              <a:lnSpc>
                <a:spcPct val="115000"/>
              </a:lnSpc>
              <a:spcAft>
                <a:spcPts val="800"/>
              </a:spcAft>
              <a:buNone/>
            </a:pPr>
            <a:r>
              <a:rPr lang="de-DE" sz="1800" u="sng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krete Arbeitsfelder können sein</a:t>
            </a: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gweiser zu verschiedenen Institutionen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ernetzung und Koordination mit Migrantenorganisationen und den im Bereich Integration und der Unterstützung von Flüchtlingen tätigen Initiativen (z.B. Kooperation mit AK Asyl)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ziale Aktionen und Projekte planen und koordinieren/Gestaltung des Gemeinwesens in der Kommune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ohnraum suchen und vermitteln</a:t>
            </a:r>
          </a:p>
          <a:p>
            <a:pPr marL="342900" lvl="0" indent="-342900">
              <a:lnSpc>
                <a:spcPct val="115000"/>
              </a:lnSpc>
              <a:spcAft>
                <a:spcPts val="800"/>
              </a:spcAft>
              <a:buFont typeface="Times New Roman" panose="02020603050405020304" pitchFamily="18" charset="0"/>
              <a:buChar char="-"/>
            </a:pP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stauschtreffen zum Thema Bildung (</a:t>
            </a:r>
            <a:r>
              <a:rPr lang="de-DE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iga</a:t>
            </a:r>
            <a:r>
              <a:rPr lang="de-DE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Schulen, etc.), Gesundheit (Ärzte, Sport, Altenheime, et.), Gesellschaftliche Teilhabe in der Kommune (Vereine –Sport, Musik, ethnisch, etc. -, Ehrenamt, Familienbildung, etc.)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75849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3FFD60-CEDF-4A69-8464-609AFB0334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3FFD60-CEDF-4A69-8464-609AFB03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D837B2B-A703-456C-B196-A465F32B7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6"/>
            <a:ext cx="7905749" cy="687388"/>
          </a:xfrm>
        </p:spPr>
        <p:txBody>
          <a:bodyPr vert="horz"/>
          <a:lstStyle/>
          <a:p>
            <a:r>
              <a:rPr lang="de-DE" dirty="0"/>
              <a:t>Aufgabenbeschreibung Sozialer Dienst Asyl </a:t>
            </a:r>
            <a:r>
              <a:rPr lang="de-DE" sz="1200" dirty="0"/>
              <a:t>(nicht abschließend)</a:t>
            </a:r>
            <a:br>
              <a:rPr lang="de-DE" sz="1200" dirty="0"/>
            </a:br>
            <a:br>
              <a:rPr lang="de-DE" sz="1200" dirty="0"/>
            </a:br>
            <a:r>
              <a:rPr lang="de-DE" sz="1650" dirty="0"/>
              <a:t>Auf andere kommunale Abteilungen verteilte Zuständigkeiten </a:t>
            </a:r>
            <a:br>
              <a:rPr lang="de-DE" sz="1650" dirty="0"/>
            </a:br>
            <a:r>
              <a:rPr lang="de-DE" sz="1650" dirty="0"/>
              <a:t>(in Kommunen unterschiedlich gehandhabt):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F8F9CB5-BDA3-4377-B10E-D342FF175E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1478337"/>
            <a:ext cx="11431681" cy="4645025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kunftsbezogene Themen incl. Instandhaltung und Einweisungsverfügungen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indergartenplätze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ulanmeldung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wohnermelderechtliche Anmeldung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bührenbescheide (Wohnheimgebühren, Kindergartengebühren)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3A78B481-ADD2-4084-9BB9-C93438C6FD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99BEC2-6465-410E-833D-09DA1B8D3150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8427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ndkreis Ludwigsburg / Master 2021">
  <a:themeElements>
    <a:clrScheme name="Custom 242">
      <a:dk1>
        <a:srgbClr val="171919"/>
      </a:dk1>
      <a:lt1>
        <a:sysClr val="window" lastClr="FFFFFF"/>
      </a:lt1>
      <a:dk2>
        <a:srgbClr val="465C7E"/>
      </a:dk2>
      <a:lt2>
        <a:srgbClr val="F2F2F2"/>
      </a:lt2>
      <a:accent1>
        <a:srgbClr val="8CADE3"/>
      </a:accent1>
      <a:accent2>
        <a:srgbClr val="AD4068"/>
      </a:accent2>
      <a:accent3>
        <a:srgbClr val="9C213E"/>
      </a:accent3>
      <a:accent4>
        <a:srgbClr val="C6593D"/>
      </a:accent4>
      <a:accent5>
        <a:srgbClr val="F99634"/>
      </a:accent5>
      <a:accent6>
        <a:srgbClr val="FFB60F"/>
      </a:accent6>
      <a:hlink>
        <a:srgbClr val="171919"/>
      </a:hlink>
      <a:folHlink>
        <a:srgbClr val="8CADE3"/>
      </a:folHlink>
    </a:clrScheme>
    <a:fontScheme name="Custom 152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2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174625" indent="-174625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●"/>
          <a:defRPr sz="12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02 PW_20210430_FH_LAL 02_Blanko Master.pptx" id="{F9DF91CA-2F4E-440A-87B9-80558E17D239}" vid="{DFCD10FA-51AD-4A07-B983-76E9CA5EE3E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02_PW_20210430_FH_LAL_02_Blanko_Master</Template>
  <TotalTime>0</TotalTime>
  <Words>1028</Words>
  <Application>Microsoft Office PowerPoint</Application>
  <PresentationFormat>Breitbild</PresentationFormat>
  <Paragraphs>77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Times New Roman</vt:lpstr>
      <vt:lpstr>Landkreis Ludwigsburg / Master 2021</vt:lpstr>
      <vt:lpstr>think-cell Slide</vt:lpstr>
      <vt:lpstr>Aufgabenbeschreibung Sozialer Dienst Asyl (nicht abschließend)</vt:lpstr>
      <vt:lpstr>PowerPoint-Präsentation</vt:lpstr>
      <vt:lpstr>Aufgabenbeschreibung Sozialer Dienst Asyl (nicht abschließend)  Soziale Betreuung in der restlichen Anschlussunterbringung (Betreuungsquote 1:150) AU Rest</vt:lpstr>
      <vt:lpstr>Aufgabenbeschreibung Sozialer Dienst Asyl (nicht abschließend)  Integrationsmanagement (Betreuungsquote 1:80) IGM</vt:lpstr>
      <vt:lpstr>Aufgabenbeschreibung Sozialer Dienst Asyl (nicht abschließend)  Integrationsmanagement (Betreuungsquote 1:80) IGM</vt:lpstr>
      <vt:lpstr>Aufgabenbeschreibung Sozialer Dienst Asyl (nicht abschließend)  Mögliche Arbeitsbereiche Ehrenamtlicher</vt:lpstr>
      <vt:lpstr>Aufgabenbeschreibung Sozialer Dienst Asyl (nicht abschließend)  Kommunaler Integrationsbeauftragter</vt:lpstr>
      <vt:lpstr>Aufgabenbeschreibung Sozialer Dienst Asyl (nicht abschließend)  Kommunaler Integrationsbeauftragter</vt:lpstr>
      <vt:lpstr>Aufgabenbeschreibung Sozialer Dienst Asyl (nicht abschließend)  Auf andere kommunale Abteilungen verteilte Zuständigkeiten  (in Kommunen unterschiedlich gehandhabt):</vt:lpstr>
      <vt:lpstr>PowerPoint-Präsentation</vt:lpstr>
    </vt:vector>
  </TitlesOfParts>
  <Company>Landratsamt Ludwi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titel  Lorem ipsum dolor sit amet</dc:title>
  <dc:creator>Lindner, Angelika</dc:creator>
  <cp:lastModifiedBy>Lindner, Angelika</cp:lastModifiedBy>
  <cp:revision>7</cp:revision>
  <dcterms:created xsi:type="dcterms:W3CDTF">2023-09-11T07:17:04Z</dcterms:created>
  <dcterms:modified xsi:type="dcterms:W3CDTF">2023-09-11T07:43:31Z</dcterms:modified>
</cp:coreProperties>
</file>